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6"/>
  </p:notesMasterIdLst>
  <p:sldIdLst>
    <p:sldId id="259" r:id="rId2"/>
    <p:sldId id="262" r:id="rId3"/>
    <p:sldId id="266" r:id="rId4"/>
    <p:sldId id="257" r:id="rId5"/>
  </p:sldIdLst>
  <p:sldSz cx="9906000" cy="6858000" type="A4"/>
  <p:notesSz cx="6858000" cy="9144000"/>
  <p:custDataLst>
    <p:tags r:id="rId7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0E5AD"/>
    <a:srgbClr val="CEEBBF"/>
    <a:srgbClr val="D5EEC8"/>
    <a:srgbClr val="5A5A5A"/>
    <a:srgbClr val="3F3F3F"/>
    <a:srgbClr val="C4E7B3"/>
    <a:srgbClr val="E1E1E1"/>
    <a:srgbClr val="BEBEBE"/>
    <a:srgbClr val="E2E2E2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707" autoAdjust="0"/>
  </p:normalViewPr>
  <p:slideViewPr>
    <p:cSldViewPr snapToGrid="0">
      <p:cViewPr varScale="1">
        <p:scale>
          <a:sx n="107" d="100"/>
          <a:sy n="107" d="100"/>
        </p:scale>
        <p:origin x="1434" y="114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tags" Target="tags/tag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159DF8-9268-423C-BCF1-3D790E94C16A}" type="datetimeFigureOut">
              <a:rPr lang="de-DE" smtClean="0"/>
              <a:t>22.01.2024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200150" y="1143000"/>
            <a:ext cx="44577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72E4F0-2E24-45EA-B2DC-4BFF7FFBE6E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090914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72E4F0-2E24-45EA-B2DC-4BFF7FFBE6E0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33686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eit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4356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de-DE" sz="2800" b="0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14" name="Freihandform 13"/>
          <p:cNvSpPr/>
          <p:nvPr userDrawn="1"/>
        </p:nvSpPr>
        <p:spPr>
          <a:xfrm>
            <a:off x="-8466" y="-16933"/>
            <a:ext cx="9923748" cy="5596466"/>
          </a:xfrm>
          <a:custGeom>
            <a:avLst/>
            <a:gdLst>
              <a:gd name="connsiteX0" fmla="*/ 9906000 w 9914467"/>
              <a:gd name="connsiteY0" fmla="*/ 4182533 h 5579533"/>
              <a:gd name="connsiteX1" fmla="*/ 0 w 9914467"/>
              <a:gd name="connsiteY1" fmla="*/ 5579533 h 5579533"/>
              <a:gd name="connsiteX2" fmla="*/ 0 w 9914467"/>
              <a:gd name="connsiteY2" fmla="*/ 0 h 5579533"/>
              <a:gd name="connsiteX3" fmla="*/ 9914467 w 9914467"/>
              <a:gd name="connsiteY3" fmla="*/ 0 h 5579533"/>
              <a:gd name="connsiteX4" fmla="*/ 9906000 w 9914467"/>
              <a:gd name="connsiteY4" fmla="*/ 4182533 h 5579533"/>
              <a:gd name="connsiteX0" fmla="*/ 9922934 w 9923309"/>
              <a:gd name="connsiteY0" fmla="*/ 4174067 h 5579533"/>
              <a:gd name="connsiteX1" fmla="*/ 0 w 9923309"/>
              <a:gd name="connsiteY1" fmla="*/ 5579533 h 5579533"/>
              <a:gd name="connsiteX2" fmla="*/ 0 w 9923309"/>
              <a:gd name="connsiteY2" fmla="*/ 0 h 5579533"/>
              <a:gd name="connsiteX3" fmla="*/ 9914467 w 9923309"/>
              <a:gd name="connsiteY3" fmla="*/ 0 h 5579533"/>
              <a:gd name="connsiteX4" fmla="*/ 9922934 w 9923309"/>
              <a:gd name="connsiteY4" fmla="*/ 4174067 h 5579533"/>
              <a:gd name="connsiteX0" fmla="*/ 9922934 w 9923748"/>
              <a:gd name="connsiteY0" fmla="*/ 4174067 h 5579533"/>
              <a:gd name="connsiteX1" fmla="*/ 0 w 9923748"/>
              <a:gd name="connsiteY1" fmla="*/ 5579533 h 5579533"/>
              <a:gd name="connsiteX2" fmla="*/ 0 w 9923748"/>
              <a:gd name="connsiteY2" fmla="*/ 0 h 5579533"/>
              <a:gd name="connsiteX3" fmla="*/ 9922934 w 9923748"/>
              <a:gd name="connsiteY3" fmla="*/ 8467 h 5579533"/>
              <a:gd name="connsiteX4" fmla="*/ 9922934 w 9923748"/>
              <a:gd name="connsiteY4" fmla="*/ 4174067 h 5579533"/>
              <a:gd name="connsiteX0" fmla="*/ 9922934 w 9923748"/>
              <a:gd name="connsiteY0" fmla="*/ 4191000 h 5596466"/>
              <a:gd name="connsiteX1" fmla="*/ 0 w 9923748"/>
              <a:gd name="connsiteY1" fmla="*/ 5596466 h 5596466"/>
              <a:gd name="connsiteX2" fmla="*/ 0 w 9923748"/>
              <a:gd name="connsiteY2" fmla="*/ 16933 h 5596466"/>
              <a:gd name="connsiteX3" fmla="*/ 9922934 w 9923748"/>
              <a:gd name="connsiteY3" fmla="*/ 0 h 5596466"/>
              <a:gd name="connsiteX4" fmla="*/ 9922934 w 9923748"/>
              <a:gd name="connsiteY4" fmla="*/ 4191000 h 559646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23748" h="5596466">
                <a:moveTo>
                  <a:pt x="9922934" y="4191000"/>
                </a:moveTo>
                <a:lnTo>
                  <a:pt x="0" y="5596466"/>
                </a:lnTo>
                <a:lnTo>
                  <a:pt x="0" y="16933"/>
                </a:lnTo>
                <a:lnTo>
                  <a:pt x="9922934" y="0"/>
                </a:lnTo>
                <a:cubicBezTo>
                  <a:pt x="9920112" y="1394178"/>
                  <a:pt x="9925756" y="2796822"/>
                  <a:pt x="9922934" y="4191000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9449" y="1243013"/>
            <a:ext cx="8545513" cy="430887"/>
          </a:xfrm>
        </p:spPr>
        <p:txBody>
          <a:bodyPr anchor="b"/>
          <a:lstStyle>
            <a:lvl1pPr algn="l">
              <a:lnSpc>
                <a:spcPct val="100000"/>
              </a:lnSpc>
              <a:defRPr sz="2800" b="0">
                <a:solidFill>
                  <a:schemeClr val="accent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79449" y="1982932"/>
            <a:ext cx="8545513" cy="738664"/>
          </a:xfrm>
        </p:spPr>
        <p:txBody>
          <a:bodyPr wrap="square">
            <a:spAutoFit/>
          </a:bodyPr>
          <a:lstStyle>
            <a:lvl1pPr marL="0" indent="0" algn="l">
              <a:lnSpc>
                <a:spcPct val="100000"/>
              </a:lnSpc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  <a:endParaRPr lang="en-US" dirty="0"/>
          </a:p>
        </p:txBody>
      </p:sp>
      <p:sp>
        <p:nvSpPr>
          <p:cNvPr id="15" name="Rechteck 14"/>
          <p:cNvSpPr/>
          <p:nvPr userDrawn="1"/>
        </p:nvSpPr>
        <p:spPr>
          <a:xfrm>
            <a:off x="0" y="6049792"/>
            <a:ext cx="9905999" cy="73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16" name="Grafik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81114" y="5888565"/>
            <a:ext cx="5043849" cy="711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982774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wischenseit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1830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24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5879" y="3449719"/>
            <a:ext cx="8543925" cy="332399"/>
          </a:xfrm>
        </p:spPr>
        <p:txBody>
          <a:bodyPr anchor="b"/>
          <a:lstStyle>
            <a:lvl1pPr>
              <a:defRPr sz="2400" b="1">
                <a:solidFill>
                  <a:schemeClr val="accent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879" y="3809106"/>
            <a:ext cx="8543925" cy="276999"/>
          </a:xfrm>
        </p:spPr>
        <p:txBody>
          <a:bodyPr>
            <a:spAutoFit/>
          </a:bodyPr>
          <a:lstStyle>
            <a:lvl1pPr marL="0" indent="0">
              <a:buNone/>
              <a:defRPr sz="1800">
                <a:solidFill>
                  <a:schemeClr val="accent2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175934" y="6477358"/>
            <a:ext cx="3835400" cy="123111"/>
          </a:xfrm>
          <a:prstGeom prst="rect">
            <a:avLst/>
          </a:prstGeom>
        </p:spPr>
        <p:txBody>
          <a:bodyPr/>
          <a:lstStyle/>
          <a:p>
            <a:endParaRPr lang="de-DE"/>
          </a:p>
        </p:txBody>
      </p:sp>
      <p:sp>
        <p:nvSpPr>
          <p:cNvPr id="7" name="Rechteck 6"/>
          <p:cNvSpPr/>
          <p:nvPr userDrawn="1"/>
        </p:nvSpPr>
        <p:spPr>
          <a:xfrm>
            <a:off x="-8468" y="6121400"/>
            <a:ext cx="9914467" cy="736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pic>
        <p:nvPicPr>
          <p:cNvPr id="8" name="Grafik 4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81114" y="5888565"/>
            <a:ext cx="5043849" cy="7119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Freihandform 12"/>
          <p:cNvSpPr/>
          <p:nvPr userDrawn="1"/>
        </p:nvSpPr>
        <p:spPr>
          <a:xfrm>
            <a:off x="0" y="-16935"/>
            <a:ext cx="9914467" cy="2789767"/>
          </a:xfrm>
          <a:custGeom>
            <a:avLst/>
            <a:gdLst>
              <a:gd name="connsiteX0" fmla="*/ 0 w 9908820"/>
              <a:gd name="connsiteY0" fmla="*/ 0 h 2789767"/>
              <a:gd name="connsiteX1" fmla="*/ 9908820 w 9908820"/>
              <a:gd name="connsiteY1" fmla="*/ 0 h 2789767"/>
              <a:gd name="connsiteX2" fmla="*/ 9906000 w 9908820"/>
              <a:gd name="connsiteY2" fmla="*/ 1392767 h 2789767"/>
              <a:gd name="connsiteX3" fmla="*/ 0 w 9908820"/>
              <a:gd name="connsiteY3" fmla="*/ 2789767 h 2789767"/>
              <a:gd name="connsiteX0" fmla="*/ 0 w 9914467"/>
              <a:gd name="connsiteY0" fmla="*/ 0 h 2789767"/>
              <a:gd name="connsiteX1" fmla="*/ 9908820 w 9914467"/>
              <a:gd name="connsiteY1" fmla="*/ 0 h 2789767"/>
              <a:gd name="connsiteX2" fmla="*/ 9914467 w 9914467"/>
              <a:gd name="connsiteY2" fmla="*/ 1392767 h 2789767"/>
              <a:gd name="connsiteX3" fmla="*/ 0 w 9914467"/>
              <a:gd name="connsiteY3" fmla="*/ 2789767 h 2789767"/>
              <a:gd name="connsiteX4" fmla="*/ 0 w 9914467"/>
              <a:gd name="connsiteY4" fmla="*/ 0 h 27897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14467" h="2789767">
                <a:moveTo>
                  <a:pt x="0" y="0"/>
                </a:moveTo>
                <a:lnTo>
                  <a:pt x="9908820" y="0"/>
                </a:lnTo>
                <a:cubicBezTo>
                  <a:pt x="9910702" y="464256"/>
                  <a:pt x="9912585" y="928511"/>
                  <a:pt x="9914467" y="1392767"/>
                </a:cubicBezTo>
                <a:lnTo>
                  <a:pt x="0" y="2789767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921681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92767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98947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814529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77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theme" Target="../theme/theme1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039300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8" imgW="351" imgH="351" progId="TCLayout.ActiveDocument.1">
                  <p:embed/>
                </p:oleObj>
              </mc:Choice>
              <mc:Fallback>
                <p:oleObj name="think-cell Folie" r:id="rId8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de-DE" sz="1800" b="1" i="0" baseline="0" dirty="0">
              <a:latin typeface="Verdana" panose="020B0604030504040204" pitchFamily="34" charset="0"/>
              <a:ea typeface="+mj-ea"/>
              <a:cs typeface="+mj-cs"/>
              <a:sym typeface="Verdana" panose="020B0604030504040204" pitchFamily="34" charset="0"/>
            </a:endParaRPr>
          </a:p>
        </p:txBody>
      </p:sp>
      <p:pic>
        <p:nvPicPr>
          <p:cNvPr id="9" name="Grafik 4"/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4997" y="6353473"/>
            <a:ext cx="1749965" cy="246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1038" y="445332"/>
            <a:ext cx="8543925" cy="2492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de-DE" dirty="0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1038" y="1247775"/>
            <a:ext cx="8543925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34" name="Slide Number Placeholder 5"/>
          <p:cNvSpPr txBox="1">
            <a:spLocks/>
          </p:cNvSpPr>
          <p:nvPr userDrawn="1"/>
        </p:nvSpPr>
        <p:spPr>
          <a:xfrm>
            <a:off x="1433475" y="6477358"/>
            <a:ext cx="36232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r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7AC68785-106B-4F43-988D-68BF930007A4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5" name="Date Placeholder 3"/>
          <p:cNvSpPr txBox="1">
            <a:spLocks/>
          </p:cNvSpPr>
          <p:nvPr userDrawn="1"/>
        </p:nvSpPr>
        <p:spPr>
          <a:xfrm>
            <a:off x="681038" y="6477358"/>
            <a:ext cx="619057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574B5CD-2B8C-4CCC-882A-84CD23D4898F}" type="datetime1">
              <a:rPr lang="de-DE" smtClean="0"/>
              <a:pPr/>
              <a:t>22.01.2024</a:t>
            </a:fld>
            <a:endParaRPr lang="de-DE" dirty="0"/>
          </a:p>
        </p:txBody>
      </p:sp>
      <p:sp>
        <p:nvSpPr>
          <p:cNvPr id="36" name="Footer Placeholder 4"/>
          <p:cNvSpPr txBox="1">
            <a:spLocks/>
          </p:cNvSpPr>
          <p:nvPr userDrawn="1"/>
        </p:nvSpPr>
        <p:spPr>
          <a:xfrm>
            <a:off x="2175934" y="6477358"/>
            <a:ext cx="3835400" cy="123111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dirty="0"/>
              <a:t>Fußzeile</a:t>
            </a:r>
          </a:p>
        </p:txBody>
      </p:sp>
    </p:spTree>
    <p:extLst>
      <p:ext uri="{BB962C8B-B14F-4D97-AF65-F5344CB8AC3E}">
        <p14:creationId xmlns:p14="http://schemas.microsoft.com/office/powerpoint/2010/main" val="2126808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2" r:id="rId3"/>
    <p:sldLayoutId id="2147483666" r:id="rId4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5600" indent="-177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541338" indent="-185738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19138" indent="-1778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783" userDrawn="1">
          <p15:clr>
            <a:srgbClr val="F26B43"/>
          </p15:clr>
        </p15:guide>
        <p15:guide id="2" pos="428" userDrawn="1">
          <p15:clr>
            <a:srgbClr val="F26B43"/>
          </p15:clr>
        </p15:guide>
        <p15:guide id="3" orient="horz" pos="3968" userDrawn="1">
          <p15:clr>
            <a:srgbClr val="F26B43"/>
          </p15:clr>
        </p15:guide>
        <p15:guide id="4" orient="horz" pos="4059" userDrawn="1">
          <p15:clr>
            <a:srgbClr val="F26B43"/>
          </p15:clr>
        </p15:guide>
        <p15:guide id="5" pos="58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1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91461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620576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385724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969149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0261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51" imgH="351" progId="TCLayout.ActiveDocument.1">
                  <p:embed/>
                </p:oleObj>
              </mc:Choice>
              <mc:Fallback>
                <p:oleObj name="think-cell Folie" r:id="rId3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itel</a:t>
            </a:r>
            <a:endParaRPr lang="en-US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81038" y="1247775"/>
            <a:ext cx="8543925" cy="1231106"/>
          </a:xfrm>
        </p:spPr>
        <p:txBody>
          <a:bodyPr/>
          <a:lstStyle/>
          <a:p>
            <a:r>
              <a:rPr lang="de-DE" dirty="0"/>
              <a:t>Erste Ebene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89389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kt 19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1411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Titel 4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Farbwerte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681037" y="1606202"/>
            <a:ext cx="8543925" cy="694266"/>
            <a:chOff x="681038" y="1606202"/>
            <a:chExt cx="8300000" cy="694266"/>
          </a:xfrm>
        </p:grpSpPr>
        <p:sp>
          <p:nvSpPr>
            <p:cNvPr id="3" name="Rechteck 2"/>
            <p:cNvSpPr>
              <a:spLocks/>
            </p:cNvSpPr>
            <p:nvPr/>
          </p:nvSpPr>
          <p:spPr>
            <a:xfrm>
              <a:off x="681038" y="1606202"/>
              <a:ext cx="772213" cy="69426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/>
                <a:t>0.59.92</a:t>
              </a:r>
            </a:p>
          </p:txBody>
        </p:sp>
        <p:sp>
          <p:nvSpPr>
            <p:cNvPr id="5" name="Rechteck 4"/>
            <p:cNvSpPr>
              <a:spLocks/>
            </p:cNvSpPr>
            <p:nvPr/>
          </p:nvSpPr>
          <p:spPr>
            <a:xfrm>
              <a:off x="1517459" y="1606202"/>
              <a:ext cx="772213" cy="694266"/>
            </a:xfrm>
            <a:prstGeom prst="rect">
              <a:avLst/>
            </a:prstGeom>
            <a:solidFill>
              <a:schemeClr val="tx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000" dirty="0"/>
            </a:p>
          </p:txBody>
        </p:sp>
        <p:sp>
          <p:nvSpPr>
            <p:cNvPr id="9" name="Rechteck 8"/>
            <p:cNvSpPr>
              <a:spLocks/>
            </p:cNvSpPr>
            <p:nvPr/>
          </p:nvSpPr>
          <p:spPr>
            <a:xfrm>
              <a:off x="3190301" y="1606202"/>
              <a:ext cx="772213" cy="69426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r>
                <a:rPr lang="de-DE" sz="1000" dirty="0">
                  <a:solidFill>
                    <a:prstClr val="white"/>
                  </a:solidFill>
                </a:rPr>
                <a:t>67</a:t>
              </a:r>
              <a:br>
                <a:rPr lang="de-DE" sz="1000" dirty="0">
                  <a:solidFill>
                    <a:prstClr val="white"/>
                  </a:solidFill>
                </a:rPr>
              </a:br>
              <a:r>
                <a:rPr lang="de-DE" sz="1000" dirty="0">
                  <a:solidFill>
                    <a:prstClr val="white"/>
                  </a:solidFill>
                </a:rPr>
                <a:t>176</a:t>
              </a:r>
              <a:br>
                <a:rPr lang="de-DE" sz="1000" dirty="0">
                  <a:solidFill>
                    <a:prstClr val="white"/>
                  </a:solidFill>
                </a:rPr>
              </a:br>
              <a:r>
                <a:rPr lang="de-DE" sz="1000" dirty="0">
                  <a:solidFill>
                    <a:prstClr val="white"/>
                  </a:solidFill>
                </a:rPr>
                <a:t>42</a:t>
              </a:r>
            </a:p>
          </p:txBody>
        </p:sp>
        <p:sp>
          <p:nvSpPr>
            <p:cNvPr id="10" name="Rechteck 9"/>
            <p:cNvSpPr/>
            <p:nvPr/>
          </p:nvSpPr>
          <p:spPr>
            <a:xfrm>
              <a:off x="4863143" y="1606202"/>
              <a:ext cx="772213" cy="69426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161</a:t>
              </a:r>
              <a:br>
                <a:rPr lang="de-DE" sz="100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216</a:t>
              </a:r>
              <a:br>
                <a:rPr lang="de-DE" sz="100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132</a:t>
              </a:r>
            </a:p>
          </p:txBody>
        </p:sp>
        <p:sp>
          <p:nvSpPr>
            <p:cNvPr id="11" name="Rechteck 10"/>
            <p:cNvSpPr/>
            <p:nvPr/>
          </p:nvSpPr>
          <p:spPr>
            <a:xfrm>
              <a:off x="4026722" y="1606202"/>
              <a:ext cx="772213" cy="69426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/>
                <a:t>0</a:t>
              </a:r>
              <a:br>
                <a:rPr lang="de-DE" sz="1000" dirty="0"/>
              </a:br>
              <a:r>
                <a:rPr lang="de-DE" sz="1000" dirty="0"/>
                <a:t>59</a:t>
              </a:r>
              <a:br>
                <a:rPr lang="de-DE" sz="1000" dirty="0"/>
              </a:br>
              <a:r>
                <a:rPr lang="de-DE" sz="1000" dirty="0"/>
                <a:t>92</a:t>
              </a:r>
            </a:p>
          </p:txBody>
        </p:sp>
        <p:sp>
          <p:nvSpPr>
            <p:cNvPr id="12" name="Rechteck 11"/>
            <p:cNvSpPr>
              <a:spLocks/>
            </p:cNvSpPr>
            <p:nvPr/>
          </p:nvSpPr>
          <p:spPr>
            <a:xfrm>
              <a:off x="5699564" y="1606202"/>
              <a:ext cx="772213" cy="69426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/>
                <a:t>90</a:t>
              </a:r>
              <a:br>
                <a:rPr lang="de-DE" sz="1000" dirty="0"/>
              </a:br>
              <a:r>
                <a:rPr lang="de-DE" sz="1000" dirty="0"/>
                <a:t>90</a:t>
              </a:r>
              <a:br>
                <a:rPr lang="de-DE" sz="1000" dirty="0"/>
              </a:br>
              <a:r>
                <a:rPr lang="de-DE" sz="1000" dirty="0"/>
                <a:t>90</a:t>
              </a:r>
            </a:p>
          </p:txBody>
        </p:sp>
        <p:sp>
          <p:nvSpPr>
            <p:cNvPr id="17" name="Rechteck 16"/>
            <p:cNvSpPr/>
            <p:nvPr/>
          </p:nvSpPr>
          <p:spPr>
            <a:xfrm>
              <a:off x="6535985" y="1606202"/>
              <a:ext cx="772213" cy="69426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/>
                <a:t>150</a:t>
              </a:r>
              <a:br>
                <a:rPr lang="de-DE" sz="1000" dirty="0"/>
              </a:br>
              <a:r>
                <a:rPr lang="de-DE" sz="1000" dirty="0"/>
                <a:t>150</a:t>
              </a:r>
              <a:br>
                <a:rPr lang="de-DE" sz="1000" dirty="0"/>
              </a:br>
              <a:r>
                <a:rPr lang="de-DE" sz="1000" dirty="0"/>
                <a:t>150</a:t>
              </a:r>
            </a:p>
          </p:txBody>
        </p:sp>
        <p:sp>
          <p:nvSpPr>
            <p:cNvPr id="18" name="Rechteck 17"/>
            <p:cNvSpPr/>
            <p:nvPr/>
          </p:nvSpPr>
          <p:spPr>
            <a:xfrm>
              <a:off x="7372406" y="1606202"/>
              <a:ext cx="772213" cy="694266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190</a:t>
              </a:r>
              <a:br>
                <a:rPr lang="de-DE" sz="100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190</a:t>
              </a:r>
              <a:br>
                <a:rPr lang="de-DE" sz="100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190</a:t>
              </a:r>
            </a:p>
          </p:txBody>
        </p:sp>
        <p:sp>
          <p:nvSpPr>
            <p:cNvPr id="19" name="Rechteck 18"/>
            <p:cNvSpPr/>
            <p:nvPr/>
          </p:nvSpPr>
          <p:spPr>
            <a:xfrm>
              <a:off x="8208825" y="1606202"/>
              <a:ext cx="772213" cy="69426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225</a:t>
              </a:r>
              <a:br>
                <a:rPr lang="de-DE" sz="100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225</a:t>
              </a:r>
              <a:br>
                <a:rPr lang="de-DE" sz="100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225</a:t>
              </a:r>
            </a:p>
          </p:txBody>
        </p:sp>
        <p:sp>
          <p:nvSpPr>
            <p:cNvPr id="31" name="Rechteck 30"/>
            <p:cNvSpPr>
              <a:spLocks/>
            </p:cNvSpPr>
            <p:nvPr/>
          </p:nvSpPr>
          <p:spPr>
            <a:xfrm>
              <a:off x="2353880" y="1606202"/>
              <a:ext cx="772213" cy="694266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de-DE" sz="1000" dirty="0">
                  <a:solidFill>
                    <a:schemeClr val="tx1"/>
                  </a:solidFill>
                </a:rPr>
                <a:t>206</a:t>
              </a:r>
              <a:br>
                <a:rPr lang="de-DE" sz="100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235</a:t>
              </a:r>
              <a:br>
                <a:rPr lang="de-DE" sz="1000" dirty="0">
                  <a:solidFill>
                    <a:schemeClr val="tx1"/>
                  </a:solidFill>
                </a:rPr>
              </a:br>
              <a:r>
                <a:rPr lang="de-DE" sz="1000" dirty="0">
                  <a:solidFill>
                    <a:schemeClr val="tx1"/>
                  </a:solidFill>
                </a:rPr>
                <a:t>191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74656134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2RsW_xQ6OdGHpNwKTkx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Id02YkRYipJMZbn7QH3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M7xQQQlQ9qemw_.USIt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5nGmvqTpGI25StB5v3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blfkPERg2L5OhyCldIIw"/>
</p:tagLst>
</file>

<file path=ppt/theme/theme1.xml><?xml version="1.0" encoding="utf-8"?>
<a:theme xmlns:a="http://schemas.openxmlformats.org/drawingml/2006/main" name="Umweltcampus Birkenfeld">
  <a:themeElements>
    <a:clrScheme name="Umweltcampus Birkenfeld">
      <a:dk1>
        <a:sysClr val="windowText" lastClr="000000"/>
      </a:dk1>
      <a:lt1>
        <a:sysClr val="window" lastClr="FFFFFF"/>
      </a:lt1>
      <a:dk2>
        <a:srgbClr val="43B02A"/>
      </a:dk2>
      <a:lt2>
        <a:srgbClr val="CEEBBF"/>
      </a:lt2>
      <a:accent1>
        <a:srgbClr val="003B5C"/>
      </a:accent1>
      <a:accent2>
        <a:srgbClr val="A1D884"/>
      </a:accent2>
      <a:accent3>
        <a:srgbClr val="5A5A5A"/>
      </a:accent3>
      <a:accent4>
        <a:srgbClr val="969696"/>
      </a:accent4>
      <a:accent5>
        <a:srgbClr val="BEBEBE"/>
      </a:accent5>
      <a:accent6>
        <a:srgbClr val="E1E1E1"/>
      </a:accent6>
      <a:hlink>
        <a:srgbClr val="43B02A"/>
      </a:hlink>
      <a:folHlink>
        <a:srgbClr val="A1D884"/>
      </a:folHlink>
    </a:clrScheme>
    <a:fontScheme name="Umweltcampus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solidFill>
            <a:schemeClr val="accent2"/>
          </a:solidFill>
        </a:ln>
      </a:spPr>
      <a:bodyPr lIns="72000" tIns="36000" rIns="0" bIns="36000" rtlCol="0" anchor="ctr"/>
      <a:lstStyle>
        <a:defPPr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accent4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Template_Umwelt-Campus-Birkenfeld_Feb2019_V2.potx" id="{35DC5C25-85C1-4EB6-9BD2-74EBA7F8D07E}" vid="{D429C187-57BE-455D-9925-52FD0369B5F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4-01-21 Template Präsentation</Template>
  <TotalTime>0</TotalTime>
  <Words>54</Words>
  <Application>Microsoft Office PowerPoint</Application>
  <PresentationFormat>A4-Papier (210 x 297 mm)</PresentationFormat>
  <Paragraphs>17</Paragraphs>
  <Slides>4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3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4</vt:i4>
      </vt:variant>
    </vt:vector>
  </HeadingPairs>
  <TitlesOfParts>
    <vt:vector size="9" baseType="lpstr">
      <vt:lpstr>Arial</vt:lpstr>
      <vt:lpstr>Calibri</vt:lpstr>
      <vt:lpstr>Verdana</vt:lpstr>
      <vt:lpstr>Umweltcampus Birkenfeld</vt:lpstr>
      <vt:lpstr>think-cell Folie</vt:lpstr>
      <vt:lpstr>PowerPoint-Präsentation</vt:lpstr>
      <vt:lpstr>PowerPoint-Präsentation</vt:lpstr>
      <vt:lpstr>Titel</vt:lpstr>
      <vt:lpstr>Farbwert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rof. Dr. Oliver Braun</dc:creator>
  <cp:lastModifiedBy>Prof. Dr. Oliver Braun</cp:lastModifiedBy>
  <cp:revision>3</cp:revision>
  <dcterms:created xsi:type="dcterms:W3CDTF">2024-01-22T09:53:59Z</dcterms:created>
  <dcterms:modified xsi:type="dcterms:W3CDTF">2024-01-22T10:01:54Z</dcterms:modified>
</cp:coreProperties>
</file>